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05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7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Relationship Id="rId9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89C808-3106-018B-DF5F-25E781AE20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BD55A5EC-B73C-514B-224C-7F5BE087D08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5" imgH="426" progId="TCLayout.ActiveDocument.1">
                  <p:embed/>
                </p:oleObj>
              </mc:Choice>
              <mc:Fallback>
                <p:oleObj name="think-cell Slide" r:id="rId8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55A5EC-B73C-514B-224C-7F5BE087D0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345A8D4-A199-560C-8D67-D79A25EA62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Funnel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7834A3D3-5E0E-1A18-979D-56B4B3E0D096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" name="Freeform 49">
            <a:extLst>
              <a:ext uri="{FF2B5EF4-FFF2-40B4-BE49-F238E27FC236}">
                <a16:creationId xmlns:a16="http://schemas.microsoft.com/office/drawing/2014/main" id="{1749A457-6AD9-70CD-BEE4-DEA9D2726865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3054937" y="1191575"/>
            <a:ext cx="2130619" cy="348026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49399 w 1828800"/>
              <a:gd name="connsiteY1" fmla="*/ 1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1 h 914402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7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7 w 1828800"/>
              <a:gd name="connsiteY1" fmla="*/ 0 h 914402"/>
              <a:gd name="connsiteX2" fmla="*/ 1828800 w 1828800"/>
              <a:gd name="connsiteY2" fmla="*/ 457200 h 914402"/>
              <a:gd name="connsiteX3" fmla="*/ 1710267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7 w 1828800"/>
              <a:gd name="connsiteY1" fmla="*/ 0 h 914402"/>
              <a:gd name="connsiteX2" fmla="*/ 1828800 w 1828800"/>
              <a:gd name="connsiteY2" fmla="*/ 457200 h 914402"/>
              <a:gd name="connsiteX3" fmla="*/ 1710267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710267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8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8 w 1828800"/>
              <a:gd name="connsiteY1" fmla="*/ 0 h 914402"/>
              <a:gd name="connsiteX2" fmla="*/ 1828800 w 1828800"/>
              <a:gd name="connsiteY2" fmla="*/ 457200 h 914402"/>
              <a:gd name="connsiteX3" fmla="*/ 1643078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8 w 1828800"/>
              <a:gd name="connsiteY1" fmla="*/ 0 h 914402"/>
              <a:gd name="connsiteX2" fmla="*/ 1828800 w 1828800"/>
              <a:gd name="connsiteY2" fmla="*/ 457200 h 914402"/>
              <a:gd name="connsiteX3" fmla="*/ 1643078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3078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32875 w 1828800"/>
              <a:gd name="connsiteY5" fmla="*/ 457202 h 914402"/>
              <a:gd name="connsiteX0" fmla="*/ 0 w 1828800"/>
              <a:gd name="connsiteY0" fmla="*/ 0 h 914402"/>
              <a:gd name="connsiteX1" fmla="*/ 1695926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32875 w 1828800"/>
              <a:gd name="connsiteY5" fmla="*/ 457202 h 914402"/>
              <a:gd name="connsiteX0" fmla="*/ 0 w 1828800"/>
              <a:gd name="connsiteY0" fmla="*/ 0 h 914402"/>
              <a:gd name="connsiteX1" fmla="*/ 1695926 w 1828800"/>
              <a:gd name="connsiteY1" fmla="*/ 0 h 914402"/>
              <a:gd name="connsiteX2" fmla="*/ 1828800 w 1828800"/>
              <a:gd name="connsiteY2" fmla="*/ 457200 h 914402"/>
              <a:gd name="connsiteX3" fmla="*/ 1695926 w 1828800"/>
              <a:gd name="connsiteY3" fmla="*/ 914402 h 914402"/>
              <a:gd name="connsiteX4" fmla="*/ 0 w 1828800"/>
              <a:gd name="connsiteY4" fmla="*/ 914400 h 914402"/>
              <a:gd name="connsiteX5" fmla="*/ 132875 w 1828800"/>
              <a:gd name="connsiteY5" fmla="*/ 457202 h 914402"/>
              <a:gd name="connsiteX0" fmla="*/ 0 w 1828800"/>
              <a:gd name="connsiteY0" fmla="*/ 0 h 914402"/>
              <a:gd name="connsiteX1" fmla="*/ 1695926 w 1828800"/>
              <a:gd name="connsiteY1" fmla="*/ 0 h 914402"/>
              <a:gd name="connsiteX2" fmla="*/ 1828800 w 1828800"/>
              <a:gd name="connsiteY2" fmla="*/ 457200 h 914402"/>
              <a:gd name="connsiteX3" fmla="*/ 169592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90310 w 1828800"/>
              <a:gd name="connsiteY1" fmla="*/ 0 h 914402"/>
              <a:gd name="connsiteX2" fmla="*/ 1828800 w 1828800"/>
              <a:gd name="connsiteY2" fmla="*/ 457200 h 914402"/>
              <a:gd name="connsiteX3" fmla="*/ 169592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90310 w 1828800"/>
              <a:gd name="connsiteY1" fmla="*/ 0 h 914402"/>
              <a:gd name="connsiteX2" fmla="*/ 1828800 w 1828800"/>
              <a:gd name="connsiteY2" fmla="*/ 457200 h 914402"/>
              <a:gd name="connsiteX3" fmla="*/ 1690310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90310 w 1828800"/>
              <a:gd name="connsiteY1" fmla="*/ 0 h 914402"/>
              <a:gd name="connsiteX2" fmla="*/ 1828800 w 1828800"/>
              <a:gd name="connsiteY2" fmla="*/ 457200 h 914402"/>
              <a:gd name="connsiteX3" fmla="*/ 1690310 w 1828800"/>
              <a:gd name="connsiteY3" fmla="*/ 914402 h 914402"/>
              <a:gd name="connsiteX4" fmla="*/ 0 w 1828800"/>
              <a:gd name="connsiteY4" fmla="*/ 914400 h 914402"/>
              <a:gd name="connsiteX5" fmla="*/ 138491 w 1828800"/>
              <a:gd name="connsiteY5" fmla="*/ 457202 h 914402"/>
              <a:gd name="connsiteX0" fmla="*/ 0 w 1828800"/>
              <a:gd name="connsiteY0" fmla="*/ 0 h 914402"/>
              <a:gd name="connsiteX1" fmla="*/ 1690310 w 1828800"/>
              <a:gd name="connsiteY1" fmla="*/ 0 h 914402"/>
              <a:gd name="connsiteX2" fmla="*/ 1828800 w 1828800"/>
              <a:gd name="connsiteY2" fmla="*/ 457200 h 914402"/>
              <a:gd name="connsiteX3" fmla="*/ 1690310 w 1828800"/>
              <a:gd name="connsiteY3" fmla="*/ 914402 h 914402"/>
              <a:gd name="connsiteX4" fmla="*/ 0 w 1828800"/>
              <a:gd name="connsiteY4" fmla="*/ 914400 h 914402"/>
              <a:gd name="connsiteX5" fmla="*/ 138491 w 1828800"/>
              <a:gd name="connsiteY5" fmla="*/ 457202 h 914402"/>
              <a:gd name="connsiteX0" fmla="*/ 0 w 1828800"/>
              <a:gd name="connsiteY0" fmla="*/ 0 h 914402"/>
              <a:gd name="connsiteX1" fmla="*/ 1690310 w 1828800"/>
              <a:gd name="connsiteY1" fmla="*/ 0 h 914402"/>
              <a:gd name="connsiteX2" fmla="*/ 1828800 w 1828800"/>
              <a:gd name="connsiteY2" fmla="*/ 457200 h 914402"/>
              <a:gd name="connsiteX3" fmla="*/ 1690310 w 1828800"/>
              <a:gd name="connsiteY3" fmla="*/ 914402 h 914402"/>
              <a:gd name="connsiteX4" fmla="*/ 0 w 1828800"/>
              <a:gd name="connsiteY4" fmla="*/ 914400 h 914402"/>
              <a:gd name="connsiteX5" fmla="*/ 138491 w 1828800"/>
              <a:gd name="connsiteY5" fmla="*/ 457202 h 914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2">
                <a:moveTo>
                  <a:pt x="0" y="0"/>
                </a:moveTo>
                <a:lnTo>
                  <a:pt x="1690310" y="0"/>
                </a:lnTo>
                <a:lnTo>
                  <a:pt x="1828800" y="457200"/>
                </a:lnTo>
                <a:lnTo>
                  <a:pt x="1690310" y="914402"/>
                </a:lnTo>
                <a:lnTo>
                  <a:pt x="0" y="914400"/>
                </a:lnTo>
                <a:lnTo>
                  <a:pt x="138491" y="457202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6" name="Freeform 45">
            <a:extLst>
              <a:ext uri="{FF2B5EF4-FFF2-40B4-BE49-F238E27FC236}">
                <a16:creationId xmlns:a16="http://schemas.microsoft.com/office/drawing/2014/main" id="{0A8AA557-C269-8BD5-8A81-8CD5011BDA8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5111019" y="1191575"/>
            <a:ext cx="2130619" cy="348026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49399 w 1828800"/>
              <a:gd name="connsiteY1" fmla="*/ 1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1 h 914402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8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8 w 1828800"/>
              <a:gd name="connsiteY1" fmla="*/ 0 h 914402"/>
              <a:gd name="connsiteX2" fmla="*/ 1828800 w 1828800"/>
              <a:gd name="connsiteY2" fmla="*/ 457200 h 914402"/>
              <a:gd name="connsiteX3" fmla="*/ 1710268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8 w 1828800"/>
              <a:gd name="connsiteY1" fmla="*/ 0 h 914402"/>
              <a:gd name="connsiteX2" fmla="*/ 1828800 w 1828800"/>
              <a:gd name="connsiteY2" fmla="*/ 457200 h 914402"/>
              <a:gd name="connsiteX3" fmla="*/ 1710268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710268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9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9 w 1828800"/>
              <a:gd name="connsiteY1" fmla="*/ 0 h 914402"/>
              <a:gd name="connsiteX2" fmla="*/ 1828800 w 1828800"/>
              <a:gd name="connsiteY2" fmla="*/ 457200 h 914402"/>
              <a:gd name="connsiteX3" fmla="*/ 1643079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9 w 1828800"/>
              <a:gd name="connsiteY1" fmla="*/ 0 h 914402"/>
              <a:gd name="connsiteX2" fmla="*/ 1828800 w 1828800"/>
              <a:gd name="connsiteY2" fmla="*/ 457200 h 914402"/>
              <a:gd name="connsiteX3" fmla="*/ 164307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307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32875 w 1828800"/>
              <a:gd name="connsiteY5" fmla="*/ 457202 h 914402"/>
              <a:gd name="connsiteX0" fmla="*/ 0 w 1828800"/>
              <a:gd name="connsiteY0" fmla="*/ 0 h 914402"/>
              <a:gd name="connsiteX1" fmla="*/ 1695926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32875 w 1828800"/>
              <a:gd name="connsiteY5" fmla="*/ 457202 h 914402"/>
              <a:gd name="connsiteX0" fmla="*/ 0 w 1828800"/>
              <a:gd name="connsiteY0" fmla="*/ 0 h 914402"/>
              <a:gd name="connsiteX1" fmla="*/ 1695926 w 1828800"/>
              <a:gd name="connsiteY1" fmla="*/ 0 h 914402"/>
              <a:gd name="connsiteX2" fmla="*/ 1828800 w 1828800"/>
              <a:gd name="connsiteY2" fmla="*/ 457200 h 914402"/>
              <a:gd name="connsiteX3" fmla="*/ 1695926 w 1828800"/>
              <a:gd name="connsiteY3" fmla="*/ 914402 h 914402"/>
              <a:gd name="connsiteX4" fmla="*/ 0 w 1828800"/>
              <a:gd name="connsiteY4" fmla="*/ 914400 h 914402"/>
              <a:gd name="connsiteX5" fmla="*/ 132875 w 1828800"/>
              <a:gd name="connsiteY5" fmla="*/ 457202 h 914402"/>
              <a:gd name="connsiteX0" fmla="*/ 0 w 1828800"/>
              <a:gd name="connsiteY0" fmla="*/ 0 h 914402"/>
              <a:gd name="connsiteX1" fmla="*/ 1695926 w 1828800"/>
              <a:gd name="connsiteY1" fmla="*/ 0 h 914402"/>
              <a:gd name="connsiteX2" fmla="*/ 1828800 w 1828800"/>
              <a:gd name="connsiteY2" fmla="*/ 457200 h 914402"/>
              <a:gd name="connsiteX3" fmla="*/ 169592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90309 w 1828800"/>
              <a:gd name="connsiteY1" fmla="*/ 0 h 914402"/>
              <a:gd name="connsiteX2" fmla="*/ 1828800 w 1828800"/>
              <a:gd name="connsiteY2" fmla="*/ 457200 h 914402"/>
              <a:gd name="connsiteX3" fmla="*/ 169592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90309 w 1828800"/>
              <a:gd name="connsiteY1" fmla="*/ 0 h 914402"/>
              <a:gd name="connsiteX2" fmla="*/ 1828800 w 1828800"/>
              <a:gd name="connsiteY2" fmla="*/ 457200 h 914402"/>
              <a:gd name="connsiteX3" fmla="*/ 169030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90309 w 1828800"/>
              <a:gd name="connsiteY1" fmla="*/ 0 h 914402"/>
              <a:gd name="connsiteX2" fmla="*/ 1828800 w 1828800"/>
              <a:gd name="connsiteY2" fmla="*/ 457200 h 914402"/>
              <a:gd name="connsiteX3" fmla="*/ 1690309 w 1828800"/>
              <a:gd name="connsiteY3" fmla="*/ 914402 h 914402"/>
              <a:gd name="connsiteX4" fmla="*/ 0 w 1828800"/>
              <a:gd name="connsiteY4" fmla="*/ 914400 h 914402"/>
              <a:gd name="connsiteX5" fmla="*/ 138490 w 1828800"/>
              <a:gd name="connsiteY5" fmla="*/ 457202 h 914402"/>
              <a:gd name="connsiteX0" fmla="*/ 0 w 1828800"/>
              <a:gd name="connsiteY0" fmla="*/ 0 h 914402"/>
              <a:gd name="connsiteX1" fmla="*/ 1690309 w 1828800"/>
              <a:gd name="connsiteY1" fmla="*/ 0 h 914402"/>
              <a:gd name="connsiteX2" fmla="*/ 1828800 w 1828800"/>
              <a:gd name="connsiteY2" fmla="*/ 457200 h 914402"/>
              <a:gd name="connsiteX3" fmla="*/ 1690309 w 1828800"/>
              <a:gd name="connsiteY3" fmla="*/ 914402 h 914402"/>
              <a:gd name="connsiteX4" fmla="*/ 0 w 1828800"/>
              <a:gd name="connsiteY4" fmla="*/ 914400 h 914402"/>
              <a:gd name="connsiteX5" fmla="*/ 138490 w 1828800"/>
              <a:gd name="connsiteY5" fmla="*/ 457202 h 914402"/>
              <a:gd name="connsiteX0" fmla="*/ 0 w 1828800"/>
              <a:gd name="connsiteY0" fmla="*/ 0 h 914402"/>
              <a:gd name="connsiteX1" fmla="*/ 1690309 w 1828800"/>
              <a:gd name="connsiteY1" fmla="*/ 0 h 914402"/>
              <a:gd name="connsiteX2" fmla="*/ 1828800 w 1828800"/>
              <a:gd name="connsiteY2" fmla="*/ 457200 h 914402"/>
              <a:gd name="connsiteX3" fmla="*/ 1690309 w 1828800"/>
              <a:gd name="connsiteY3" fmla="*/ 914402 h 914402"/>
              <a:gd name="connsiteX4" fmla="*/ 0 w 1828800"/>
              <a:gd name="connsiteY4" fmla="*/ 914400 h 914402"/>
              <a:gd name="connsiteX5" fmla="*/ 138490 w 1828800"/>
              <a:gd name="connsiteY5" fmla="*/ 457202 h 914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2">
                <a:moveTo>
                  <a:pt x="0" y="0"/>
                </a:moveTo>
                <a:lnTo>
                  <a:pt x="1690309" y="0"/>
                </a:lnTo>
                <a:lnTo>
                  <a:pt x="1828800" y="457200"/>
                </a:lnTo>
                <a:lnTo>
                  <a:pt x="1690309" y="914402"/>
                </a:lnTo>
                <a:lnTo>
                  <a:pt x="0" y="914400"/>
                </a:lnTo>
                <a:lnTo>
                  <a:pt x="138490" y="457202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7" name="Freeform 43">
            <a:extLst>
              <a:ext uri="{FF2B5EF4-FFF2-40B4-BE49-F238E27FC236}">
                <a16:creationId xmlns:a16="http://schemas.microsoft.com/office/drawing/2014/main" id="{403C32D8-6FD8-30DB-4C0F-6CCC8F232508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7167101" y="1191575"/>
            <a:ext cx="2130619" cy="348026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49399 w 1828800"/>
              <a:gd name="connsiteY1" fmla="*/ 1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1 h 914402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8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8 w 1828800"/>
              <a:gd name="connsiteY1" fmla="*/ 0 h 914402"/>
              <a:gd name="connsiteX2" fmla="*/ 1828800 w 1828800"/>
              <a:gd name="connsiteY2" fmla="*/ 457200 h 914402"/>
              <a:gd name="connsiteX3" fmla="*/ 1710268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8 w 1828800"/>
              <a:gd name="connsiteY1" fmla="*/ 0 h 914402"/>
              <a:gd name="connsiteX2" fmla="*/ 1828800 w 1828800"/>
              <a:gd name="connsiteY2" fmla="*/ 457200 h 914402"/>
              <a:gd name="connsiteX3" fmla="*/ 1710268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710268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0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0 w 1828800"/>
              <a:gd name="connsiteY1" fmla="*/ 0 h 914402"/>
              <a:gd name="connsiteX2" fmla="*/ 1828800 w 1828800"/>
              <a:gd name="connsiteY2" fmla="*/ 457200 h 914402"/>
              <a:gd name="connsiteX3" fmla="*/ 1676500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0 w 1828800"/>
              <a:gd name="connsiteY1" fmla="*/ 0 h 914402"/>
              <a:gd name="connsiteX2" fmla="*/ 1828800 w 1828800"/>
              <a:gd name="connsiteY2" fmla="*/ 457200 h 914402"/>
              <a:gd name="connsiteX3" fmla="*/ 1676500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0 w 1828800"/>
              <a:gd name="connsiteY1" fmla="*/ 0 h 914402"/>
              <a:gd name="connsiteX2" fmla="*/ 1828800 w 1828800"/>
              <a:gd name="connsiteY2" fmla="*/ 457200 h 914402"/>
              <a:gd name="connsiteX3" fmla="*/ 1676500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0 w 1828800"/>
              <a:gd name="connsiteY1" fmla="*/ 0 h 914402"/>
              <a:gd name="connsiteX2" fmla="*/ 1828800 w 1828800"/>
              <a:gd name="connsiteY2" fmla="*/ 457200 h 914402"/>
              <a:gd name="connsiteX3" fmla="*/ 1676500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0 w 1828800"/>
              <a:gd name="connsiteY1" fmla="*/ 0 h 914402"/>
              <a:gd name="connsiteX2" fmla="*/ 1828800 w 1828800"/>
              <a:gd name="connsiteY2" fmla="*/ 457200 h 914402"/>
              <a:gd name="connsiteX3" fmla="*/ 1676500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9 w 1828800"/>
              <a:gd name="connsiteY1" fmla="*/ 0 h 914402"/>
              <a:gd name="connsiteX2" fmla="*/ 1828800 w 1828800"/>
              <a:gd name="connsiteY2" fmla="*/ 457200 h 914402"/>
              <a:gd name="connsiteX3" fmla="*/ 1676500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9 w 1828800"/>
              <a:gd name="connsiteY1" fmla="*/ 0 h 914402"/>
              <a:gd name="connsiteX2" fmla="*/ 1828800 w 1828800"/>
              <a:gd name="connsiteY2" fmla="*/ 457200 h 914402"/>
              <a:gd name="connsiteX3" fmla="*/ 1643079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9 w 1828800"/>
              <a:gd name="connsiteY1" fmla="*/ 0 h 914402"/>
              <a:gd name="connsiteX2" fmla="*/ 1828800 w 1828800"/>
              <a:gd name="connsiteY2" fmla="*/ 457200 h 914402"/>
              <a:gd name="connsiteX3" fmla="*/ 164307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307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32875 w 1828800"/>
              <a:gd name="connsiteY5" fmla="*/ 457202 h 914402"/>
              <a:gd name="connsiteX0" fmla="*/ 0 w 1828800"/>
              <a:gd name="connsiteY0" fmla="*/ 0 h 914402"/>
              <a:gd name="connsiteX1" fmla="*/ 1695926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32875 w 1828800"/>
              <a:gd name="connsiteY5" fmla="*/ 457202 h 914402"/>
              <a:gd name="connsiteX0" fmla="*/ 0 w 1828800"/>
              <a:gd name="connsiteY0" fmla="*/ 0 h 914402"/>
              <a:gd name="connsiteX1" fmla="*/ 1695926 w 1828800"/>
              <a:gd name="connsiteY1" fmla="*/ 0 h 914402"/>
              <a:gd name="connsiteX2" fmla="*/ 1828800 w 1828800"/>
              <a:gd name="connsiteY2" fmla="*/ 457200 h 914402"/>
              <a:gd name="connsiteX3" fmla="*/ 1695926 w 1828800"/>
              <a:gd name="connsiteY3" fmla="*/ 914402 h 914402"/>
              <a:gd name="connsiteX4" fmla="*/ 0 w 1828800"/>
              <a:gd name="connsiteY4" fmla="*/ 914400 h 914402"/>
              <a:gd name="connsiteX5" fmla="*/ 132875 w 1828800"/>
              <a:gd name="connsiteY5" fmla="*/ 457202 h 914402"/>
              <a:gd name="connsiteX0" fmla="*/ 0 w 1828800"/>
              <a:gd name="connsiteY0" fmla="*/ 0 h 914402"/>
              <a:gd name="connsiteX1" fmla="*/ 1695926 w 1828800"/>
              <a:gd name="connsiteY1" fmla="*/ 0 h 914402"/>
              <a:gd name="connsiteX2" fmla="*/ 1828800 w 1828800"/>
              <a:gd name="connsiteY2" fmla="*/ 457200 h 914402"/>
              <a:gd name="connsiteX3" fmla="*/ 169592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90309 w 1828800"/>
              <a:gd name="connsiteY1" fmla="*/ 0 h 914402"/>
              <a:gd name="connsiteX2" fmla="*/ 1828800 w 1828800"/>
              <a:gd name="connsiteY2" fmla="*/ 457200 h 914402"/>
              <a:gd name="connsiteX3" fmla="*/ 169592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90309 w 1828800"/>
              <a:gd name="connsiteY1" fmla="*/ 0 h 914402"/>
              <a:gd name="connsiteX2" fmla="*/ 1828800 w 1828800"/>
              <a:gd name="connsiteY2" fmla="*/ 457200 h 914402"/>
              <a:gd name="connsiteX3" fmla="*/ 169030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90309 w 1828800"/>
              <a:gd name="connsiteY1" fmla="*/ 0 h 914402"/>
              <a:gd name="connsiteX2" fmla="*/ 1828800 w 1828800"/>
              <a:gd name="connsiteY2" fmla="*/ 457200 h 914402"/>
              <a:gd name="connsiteX3" fmla="*/ 1690309 w 1828800"/>
              <a:gd name="connsiteY3" fmla="*/ 914402 h 914402"/>
              <a:gd name="connsiteX4" fmla="*/ 0 w 1828800"/>
              <a:gd name="connsiteY4" fmla="*/ 914400 h 914402"/>
              <a:gd name="connsiteX5" fmla="*/ 138490 w 1828800"/>
              <a:gd name="connsiteY5" fmla="*/ 457202 h 914402"/>
              <a:gd name="connsiteX0" fmla="*/ 0 w 1828800"/>
              <a:gd name="connsiteY0" fmla="*/ 0 h 914402"/>
              <a:gd name="connsiteX1" fmla="*/ 1690309 w 1828800"/>
              <a:gd name="connsiteY1" fmla="*/ 0 h 914402"/>
              <a:gd name="connsiteX2" fmla="*/ 1828800 w 1828800"/>
              <a:gd name="connsiteY2" fmla="*/ 457200 h 914402"/>
              <a:gd name="connsiteX3" fmla="*/ 1690309 w 1828800"/>
              <a:gd name="connsiteY3" fmla="*/ 914402 h 914402"/>
              <a:gd name="connsiteX4" fmla="*/ 0 w 1828800"/>
              <a:gd name="connsiteY4" fmla="*/ 914400 h 914402"/>
              <a:gd name="connsiteX5" fmla="*/ 138490 w 1828800"/>
              <a:gd name="connsiteY5" fmla="*/ 457202 h 914402"/>
              <a:gd name="connsiteX0" fmla="*/ 0 w 1828800"/>
              <a:gd name="connsiteY0" fmla="*/ 0 h 914402"/>
              <a:gd name="connsiteX1" fmla="*/ 1690309 w 1828800"/>
              <a:gd name="connsiteY1" fmla="*/ 0 h 914402"/>
              <a:gd name="connsiteX2" fmla="*/ 1828800 w 1828800"/>
              <a:gd name="connsiteY2" fmla="*/ 457200 h 914402"/>
              <a:gd name="connsiteX3" fmla="*/ 1690309 w 1828800"/>
              <a:gd name="connsiteY3" fmla="*/ 914402 h 914402"/>
              <a:gd name="connsiteX4" fmla="*/ 0 w 1828800"/>
              <a:gd name="connsiteY4" fmla="*/ 914400 h 914402"/>
              <a:gd name="connsiteX5" fmla="*/ 138490 w 1828800"/>
              <a:gd name="connsiteY5" fmla="*/ 457202 h 914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2">
                <a:moveTo>
                  <a:pt x="0" y="0"/>
                </a:moveTo>
                <a:lnTo>
                  <a:pt x="1690309" y="0"/>
                </a:lnTo>
                <a:lnTo>
                  <a:pt x="1828800" y="457200"/>
                </a:lnTo>
                <a:lnTo>
                  <a:pt x="1690309" y="914402"/>
                </a:lnTo>
                <a:lnTo>
                  <a:pt x="0" y="914400"/>
                </a:lnTo>
                <a:lnTo>
                  <a:pt x="138490" y="457202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8" name="Freeform 47">
            <a:extLst>
              <a:ext uri="{FF2B5EF4-FFF2-40B4-BE49-F238E27FC236}">
                <a16:creationId xmlns:a16="http://schemas.microsoft.com/office/drawing/2014/main" id="{A0753DBD-2DEA-E3EB-6AD1-65B71E85A98F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998856" y="1191575"/>
            <a:ext cx="2130619" cy="348026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49399 w 1828800"/>
              <a:gd name="connsiteY1" fmla="*/ 1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1 h 914402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710268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710268 w 1828800"/>
              <a:gd name="connsiteY1" fmla="*/ 0 h 914402"/>
              <a:gd name="connsiteX2" fmla="*/ 1828800 w 1828800"/>
              <a:gd name="connsiteY2" fmla="*/ 457200 h 914402"/>
              <a:gd name="connsiteX3" fmla="*/ 1710268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710268 w 1828800"/>
              <a:gd name="connsiteY1" fmla="*/ 0 h 914402"/>
              <a:gd name="connsiteX2" fmla="*/ 1828800 w 1828800"/>
              <a:gd name="connsiteY2" fmla="*/ 457200 h 914402"/>
              <a:gd name="connsiteX3" fmla="*/ 1710268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710268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3079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3079 w 1828800"/>
              <a:gd name="connsiteY1" fmla="*/ 0 h 914402"/>
              <a:gd name="connsiteX2" fmla="*/ 1828800 w 1828800"/>
              <a:gd name="connsiteY2" fmla="*/ 457200 h 914402"/>
              <a:gd name="connsiteX3" fmla="*/ 164307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3079 w 1828800"/>
              <a:gd name="connsiteY1" fmla="*/ 0 h 914402"/>
              <a:gd name="connsiteX2" fmla="*/ 1828800 w 1828800"/>
              <a:gd name="connsiteY2" fmla="*/ 457200 h 914402"/>
              <a:gd name="connsiteX3" fmla="*/ 1643079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3079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95926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95926 w 1828800"/>
              <a:gd name="connsiteY1" fmla="*/ 0 h 914402"/>
              <a:gd name="connsiteX2" fmla="*/ 1828800 w 1828800"/>
              <a:gd name="connsiteY2" fmla="*/ 457200 h 914402"/>
              <a:gd name="connsiteX3" fmla="*/ 169592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95926 w 1828800"/>
              <a:gd name="connsiteY1" fmla="*/ 0 h 914402"/>
              <a:gd name="connsiteX2" fmla="*/ 1828800 w 1828800"/>
              <a:gd name="connsiteY2" fmla="*/ 457200 h 914402"/>
              <a:gd name="connsiteX3" fmla="*/ 1695926 w 1828800"/>
              <a:gd name="connsiteY3" fmla="*/ 914402 h 914402"/>
              <a:gd name="connsiteX4" fmla="*/ 0 w 1828800"/>
              <a:gd name="connsiteY4" fmla="*/ 914400 h 914402"/>
              <a:gd name="connsiteX5" fmla="*/ 138490 w 1828800"/>
              <a:gd name="connsiteY5" fmla="*/ 457202 h 914402"/>
              <a:gd name="connsiteX0" fmla="*/ 0 w 1828800"/>
              <a:gd name="connsiteY0" fmla="*/ 0 h 914402"/>
              <a:gd name="connsiteX1" fmla="*/ 1690310 w 1828800"/>
              <a:gd name="connsiteY1" fmla="*/ 0 h 914402"/>
              <a:gd name="connsiteX2" fmla="*/ 1828800 w 1828800"/>
              <a:gd name="connsiteY2" fmla="*/ 457200 h 914402"/>
              <a:gd name="connsiteX3" fmla="*/ 1695926 w 1828800"/>
              <a:gd name="connsiteY3" fmla="*/ 914402 h 914402"/>
              <a:gd name="connsiteX4" fmla="*/ 0 w 1828800"/>
              <a:gd name="connsiteY4" fmla="*/ 914400 h 914402"/>
              <a:gd name="connsiteX5" fmla="*/ 138490 w 1828800"/>
              <a:gd name="connsiteY5" fmla="*/ 457202 h 914402"/>
              <a:gd name="connsiteX0" fmla="*/ 0 w 1828800"/>
              <a:gd name="connsiteY0" fmla="*/ 0 h 914402"/>
              <a:gd name="connsiteX1" fmla="*/ 1690310 w 1828800"/>
              <a:gd name="connsiteY1" fmla="*/ 0 h 914402"/>
              <a:gd name="connsiteX2" fmla="*/ 1828800 w 1828800"/>
              <a:gd name="connsiteY2" fmla="*/ 457200 h 914402"/>
              <a:gd name="connsiteX3" fmla="*/ 1690310 w 1828800"/>
              <a:gd name="connsiteY3" fmla="*/ 914402 h 914402"/>
              <a:gd name="connsiteX4" fmla="*/ 0 w 1828800"/>
              <a:gd name="connsiteY4" fmla="*/ 914400 h 914402"/>
              <a:gd name="connsiteX5" fmla="*/ 138490 w 1828800"/>
              <a:gd name="connsiteY5" fmla="*/ 457202 h 914402"/>
              <a:gd name="connsiteX0" fmla="*/ 0 w 1828800"/>
              <a:gd name="connsiteY0" fmla="*/ 0 h 914402"/>
              <a:gd name="connsiteX1" fmla="*/ 1690310 w 1828800"/>
              <a:gd name="connsiteY1" fmla="*/ 0 h 914402"/>
              <a:gd name="connsiteX2" fmla="*/ 1828800 w 1828800"/>
              <a:gd name="connsiteY2" fmla="*/ 457200 h 914402"/>
              <a:gd name="connsiteX3" fmla="*/ 1690310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90310 w 1828800"/>
              <a:gd name="connsiteY1" fmla="*/ 0 h 914402"/>
              <a:gd name="connsiteX2" fmla="*/ 1828800 w 1828800"/>
              <a:gd name="connsiteY2" fmla="*/ 457200 h 914402"/>
              <a:gd name="connsiteX3" fmla="*/ 1690310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90310 w 1828800"/>
              <a:gd name="connsiteY1" fmla="*/ 0 h 914402"/>
              <a:gd name="connsiteX2" fmla="*/ 1828800 w 1828800"/>
              <a:gd name="connsiteY2" fmla="*/ 457200 h 914402"/>
              <a:gd name="connsiteX3" fmla="*/ 1690310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2">
                <a:moveTo>
                  <a:pt x="0" y="0"/>
                </a:moveTo>
                <a:lnTo>
                  <a:pt x="1690310" y="0"/>
                </a:lnTo>
                <a:lnTo>
                  <a:pt x="1828800" y="457200"/>
                </a:lnTo>
                <a:lnTo>
                  <a:pt x="1690310" y="914402"/>
                </a:lnTo>
                <a:lnTo>
                  <a:pt x="0" y="914400"/>
                </a:lnTo>
                <a:lnTo>
                  <a:pt x="0" y="457202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9" name="Freeform 52">
            <a:extLst>
              <a:ext uri="{FF2B5EF4-FFF2-40B4-BE49-F238E27FC236}">
                <a16:creationId xmlns:a16="http://schemas.microsoft.com/office/drawing/2014/main" id="{5FA71D7C-B6B6-6F71-07AB-7AA8A92F3A12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9223181" y="1191575"/>
            <a:ext cx="2130619" cy="348026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49399 w 1828800"/>
              <a:gd name="connsiteY1" fmla="*/ 1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1 h 914402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8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8 w 1828800"/>
              <a:gd name="connsiteY1" fmla="*/ 0 h 914402"/>
              <a:gd name="connsiteX2" fmla="*/ 1828800 w 1828800"/>
              <a:gd name="connsiteY2" fmla="*/ 457200 h 914402"/>
              <a:gd name="connsiteX3" fmla="*/ 1710268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8 w 1828800"/>
              <a:gd name="connsiteY1" fmla="*/ 0 h 914402"/>
              <a:gd name="connsiteX2" fmla="*/ 1828800 w 1828800"/>
              <a:gd name="connsiteY2" fmla="*/ 457200 h 914402"/>
              <a:gd name="connsiteX3" fmla="*/ 1710268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710268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0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0 w 1828800"/>
              <a:gd name="connsiteY1" fmla="*/ 0 h 914402"/>
              <a:gd name="connsiteX2" fmla="*/ 1828800 w 1828800"/>
              <a:gd name="connsiteY2" fmla="*/ 457200 h 914402"/>
              <a:gd name="connsiteX3" fmla="*/ 1676500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0 w 1828800"/>
              <a:gd name="connsiteY1" fmla="*/ 0 h 914402"/>
              <a:gd name="connsiteX2" fmla="*/ 1828800 w 1828800"/>
              <a:gd name="connsiteY2" fmla="*/ 457200 h 914402"/>
              <a:gd name="connsiteX3" fmla="*/ 1676500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0 w 1828800"/>
              <a:gd name="connsiteY1" fmla="*/ 0 h 914402"/>
              <a:gd name="connsiteX2" fmla="*/ 1828800 w 1828800"/>
              <a:gd name="connsiteY2" fmla="*/ 457200 h 914402"/>
              <a:gd name="connsiteX3" fmla="*/ 1676500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0 w 1828800"/>
              <a:gd name="connsiteY1" fmla="*/ 0 h 914402"/>
              <a:gd name="connsiteX2" fmla="*/ 1828800 w 1828800"/>
              <a:gd name="connsiteY2" fmla="*/ 457200 h 914402"/>
              <a:gd name="connsiteX3" fmla="*/ 1676500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0 w 1828800"/>
              <a:gd name="connsiteY1" fmla="*/ 0 h 914402"/>
              <a:gd name="connsiteX2" fmla="*/ 1828800 w 1828800"/>
              <a:gd name="connsiteY2" fmla="*/ 457200 h 914402"/>
              <a:gd name="connsiteX3" fmla="*/ 1676500 w 1828800"/>
              <a:gd name="connsiteY3" fmla="*/ 914402 h 914402"/>
              <a:gd name="connsiteX4" fmla="*/ 0 w 1828800"/>
              <a:gd name="connsiteY4" fmla="*/ 914400 h 914402"/>
              <a:gd name="connsiteX5" fmla="*/ 185722 w 1828800"/>
              <a:gd name="connsiteY5" fmla="*/ 457202 h 914402"/>
              <a:gd name="connsiteX0" fmla="*/ 0 w 1828800"/>
              <a:gd name="connsiteY0" fmla="*/ 0 h 914402"/>
              <a:gd name="connsiteX1" fmla="*/ 1643079 w 1828800"/>
              <a:gd name="connsiteY1" fmla="*/ 0 h 914402"/>
              <a:gd name="connsiteX2" fmla="*/ 1828800 w 1828800"/>
              <a:gd name="connsiteY2" fmla="*/ 457200 h 914402"/>
              <a:gd name="connsiteX3" fmla="*/ 1676500 w 1828800"/>
              <a:gd name="connsiteY3" fmla="*/ 914402 h 914402"/>
              <a:gd name="connsiteX4" fmla="*/ 0 w 1828800"/>
              <a:gd name="connsiteY4" fmla="*/ 914400 h 914402"/>
              <a:gd name="connsiteX5" fmla="*/ 185722 w 1828800"/>
              <a:gd name="connsiteY5" fmla="*/ 457202 h 914402"/>
              <a:gd name="connsiteX0" fmla="*/ 0 w 1828800"/>
              <a:gd name="connsiteY0" fmla="*/ 0 h 914402"/>
              <a:gd name="connsiteX1" fmla="*/ 1643079 w 1828800"/>
              <a:gd name="connsiteY1" fmla="*/ 0 h 914402"/>
              <a:gd name="connsiteX2" fmla="*/ 1828800 w 1828800"/>
              <a:gd name="connsiteY2" fmla="*/ 457200 h 914402"/>
              <a:gd name="connsiteX3" fmla="*/ 1643079 w 1828800"/>
              <a:gd name="connsiteY3" fmla="*/ 914402 h 914402"/>
              <a:gd name="connsiteX4" fmla="*/ 0 w 1828800"/>
              <a:gd name="connsiteY4" fmla="*/ 914400 h 914402"/>
              <a:gd name="connsiteX5" fmla="*/ 185722 w 1828800"/>
              <a:gd name="connsiteY5" fmla="*/ 457202 h 914402"/>
              <a:gd name="connsiteX0" fmla="*/ 0 w 1828800"/>
              <a:gd name="connsiteY0" fmla="*/ 0 h 914402"/>
              <a:gd name="connsiteX1" fmla="*/ 1643079 w 1828800"/>
              <a:gd name="connsiteY1" fmla="*/ 0 h 914402"/>
              <a:gd name="connsiteX2" fmla="*/ 1828800 w 1828800"/>
              <a:gd name="connsiteY2" fmla="*/ 457200 h 914402"/>
              <a:gd name="connsiteX3" fmla="*/ 164307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1 w 1828800"/>
              <a:gd name="connsiteY1" fmla="*/ 0 h 914402"/>
              <a:gd name="connsiteX2" fmla="*/ 1828800 w 1828800"/>
              <a:gd name="connsiteY2" fmla="*/ 457200 h 914402"/>
              <a:gd name="connsiteX3" fmla="*/ 164307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1 w 1828800"/>
              <a:gd name="connsiteY1" fmla="*/ 0 h 914402"/>
              <a:gd name="connsiteX2" fmla="*/ 1828800 w 1828800"/>
              <a:gd name="connsiteY2" fmla="*/ 457200 h 914402"/>
              <a:gd name="connsiteX3" fmla="*/ 164261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1 w 1828800"/>
              <a:gd name="connsiteY1" fmla="*/ 0 h 914402"/>
              <a:gd name="connsiteX2" fmla="*/ 1828800 w 1828800"/>
              <a:gd name="connsiteY2" fmla="*/ 457200 h 914402"/>
              <a:gd name="connsiteX3" fmla="*/ 1642611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1 w 1828800"/>
              <a:gd name="connsiteY1" fmla="*/ 0 h 914402"/>
              <a:gd name="connsiteX2" fmla="*/ 1828800 w 1828800"/>
              <a:gd name="connsiteY2" fmla="*/ 457200 h 914402"/>
              <a:gd name="connsiteX3" fmla="*/ 1642611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1 w 1828800"/>
              <a:gd name="connsiteY1" fmla="*/ 0 h 914402"/>
              <a:gd name="connsiteX2" fmla="*/ 1828800 w 1828800"/>
              <a:gd name="connsiteY2" fmla="*/ 457200 h 914402"/>
              <a:gd name="connsiteX3" fmla="*/ 1642611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1 w 1828800"/>
              <a:gd name="connsiteY1" fmla="*/ 0 h 914402"/>
              <a:gd name="connsiteX2" fmla="*/ 1828800 w 1828800"/>
              <a:gd name="connsiteY2" fmla="*/ 457200 h 914402"/>
              <a:gd name="connsiteX3" fmla="*/ 164261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32875 w 1828800"/>
              <a:gd name="connsiteY5" fmla="*/ 457202 h 914402"/>
              <a:gd name="connsiteX0" fmla="*/ 0 w 1828800"/>
              <a:gd name="connsiteY0" fmla="*/ 0 h 914402"/>
              <a:gd name="connsiteX1" fmla="*/ 1695926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32875 w 1828800"/>
              <a:gd name="connsiteY5" fmla="*/ 457202 h 914402"/>
              <a:gd name="connsiteX0" fmla="*/ 0 w 1828800"/>
              <a:gd name="connsiteY0" fmla="*/ 0 h 914402"/>
              <a:gd name="connsiteX1" fmla="*/ 1695926 w 1828800"/>
              <a:gd name="connsiteY1" fmla="*/ 0 h 914402"/>
              <a:gd name="connsiteX2" fmla="*/ 1828800 w 1828800"/>
              <a:gd name="connsiteY2" fmla="*/ 457200 h 914402"/>
              <a:gd name="connsiteX3" fmla="*/ 1695926 w 1828800"/>
              <a:gd name="connsiteY3" fmla="*/ 914402 h 914402"/>
              <a:gd name="connsiteX4" fmla="*/ 0 w 1828800"/>
              <a:gd name="connsiteY4" fmla="*/ 914400 h 914402"/>
              <a:gd name="connsiteX5" fmla="*/ 132875 w 1828800"/>
              <a:gd name="connsiteY5" fmla="*/ 457202 h 914402"/>
              <a:gd name="connsiteX0" fmla="*/ 0 w 1828800"/>
              <a:gd name="connsiteY0" fmla="*/ 0 h 914402"/>
              <a:gd name="connsiteX1" fmla="*/ 1695926 w 1828800"/>
              <a:gd name="connsiteY1" fmla="*/ 0 h 914402"/>
              <a:gd name="connsiteX2" fmla="*/ 1828800 w 1828800"/>
              <a:gd name="connsiteY2" fmla="*/ 457200 h 914402"/>
              <a:gd name="connsiteX3" fmla="*/ 169592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90310 w 1828800"/>
              <a:gd name="connsiteY1" fmla="*/ 0 h 914402"/>
              <a:gd name="connsiteX2" fmla="*/ 1828800 w 1828800"/>
              <a:gd name="connsiteY2" fmla="*/ 457200 h 914402"/>
              <a:gd name="connsiteX3" fmla="*/ 169592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90310 w 1828800"/>
              <a:gd name="connsiteY1" fmla="*/ 0 h 914402"/>
              <a:gd name="connsiteX2" fmla="*/ 1828800 w 1828800"/>
              <a:gd name="connsiteY2" fmla="*/ 457200 h 914402"/>
              <a:gd name="connsiteX3" fmla="*/ 1690310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90310 w 1828800"/>
              <a:gd name="connsiteY1" fmla="*/ 0 h 914402"/>
              <a:gd name="connsiteX2" fmla="*/ 1828800 w 1828800"/>
              <a:gd name="connsiteY2" fmla="*/ 457200 h 914402"/>
              <a:gd name="connsiteX3" fmla="*/ 1690310 w 1828800"/>
              <a:gd name="connsiteY3" fmla="*/ 914402 h 914402"/>
              <a:gd name="connsiteX4" fmla="*/ 0 w 1828800"/>
              <a:gd name="connsiteY4" fmla="*/ 914400 h 914402"/>
              <a:gd name="connsiteX5" fmla="*/ 138491 w 1828800"/>
              <a:gd name="connsiteY5" fmla="*/ 457202 h 914402"/>
              <a:gd name="connsiteX0" fmla="*/ 0 w 1828800"/>
              <a:gd name="connsiteY0" fmla="*/ 0 h 914402"/>
              <a:gd name="connsiteX1" fmla="*/ 1690310 w 1828800"/>
              <a:gd name="connsiteY1" fmla="*/ 0 h 914402"/>
              <a:gd name="connsiteX2" fmla="*/ 1828800 w 1828800"/>
              <a:gd name="connsiteY2" fmla="*/ 457200 h 914402"/>
              <a:gd name="connsiteX3" fmla="*/ 1690310 w 1828800"/>
              <a:gd name="connsiteY3" fmla="*/ 914402 h 914402"/>
              <a:gd name="connsiteX4" fmla="*/ 0 w 1828800"/>
              <a:gd name="connsiteY4" fmla="*/ 914400 h 914402"/>
              <a:gd name="connsiteX5" fmla="*/ 138491 w 1828800"/>
              <a:gd name="connsiteY5" fmla="*/ 457202 h 914402"/>
              <a:gd name="connsiteX0" fmla="*/ 0 w 1828800"/>
              <a:gd name="connsiteY0" fmla="*/ 0 h 914402"/>
              <a:gd name="connsiteX1" fmla="*/ 1690310 w 1828800"/>
              <a:gd name="connsiteY1" fmla="*/ 0 h 914402"/>
              <a:gd name="connsiteX2" fmla="*/ 1828800 w 1828800"/>
              <a:gd name="connsiteY2" fmla="*/ 457200 h 914402"/>
              <a:gd name="connsiteX3" fmla="*/ 1690310 w 1828800"/>
              <a:gd name="connsiteY3" fmla="*/ 914402 h 914402"/>
              <a:gd name="connsiteX4" fmla="*/ 0 w 1828800"/>
              <a:gd name="connsiteY4" fmla="*/ 914400 h 914402"/>
              <a:gd name="connsiteX5" fmla="*/ 138491 w 1828800"/>
              <a:gd name="connsiteY5" fmla="*/ 457202 h 914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2">
                <a:moveTo>
                  <a:pt x="0" y="0"/>
                </a:moveTo>
                <a:lnTo>
                  <a:pt x="1690310" y="0"/>
                </a:lnTo>
                <a:lnTo>
                  <a:pt x="1828800" y="457200"/>
                </a:lnTo>
                <a:lnTo>
                  <a:pt x="1690310" y="914402"/>
                </a:lnTo>
                <a:lnTo>
                  <a:pt x="0" y="914400"/>
                </a:lnTo>
                <a:lnTo>
                  <a:pt x="138491" y="457202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26" name="Freeform 6">
            <a:extLst>
              <a:ext uri="{FF2B5EF4-FFF2-40B4-BE49-F238E27FC236}">
                <a16:creationId xmlns:a16="http://schemas.microsoft.com/office/drawing/2014/main" id="{8E935CBE-BFD4-B3BA-53C0-212772DFAF42}"/>
              </a:ext>
            </a:extLst>
          </p:cNvPr>
          <p:cNvSpPr>
            <a:spLocks/>
          </p:cNvSpPr>
          <p:nvPr/>
        </p:nvSpPr>
        <p:spPr bwMode="gray">
          <a:xfrm>
            <a:off x="2421716" y="1712186"/>
            <a:ext cx="7330112" cy="1011926"/>
          </a:xfrm>
          <a:custGeom>
            <a:avLst/>
            <a:gdLst>
              <a:gd name="T0" fmla="*/ 0 w 4138"/>
              <a:gd name="T1" fmla="*/ 0 h 467"/>
              <a:gd name="T2" fmla="*/ 713 w 4138"/>
              <a:gd name="T3" fmla="*/ 185 h 467"/>
              <a:gd name="T4" fmla="*/ 1509 w 4138"/>
              <a:gd name="T5" fmla="*/ 321 h 467"/>
              <a:gd name="T6" fmla="*/ 2449 w 4138"/>
              <a:gd name="T7" fmla="*/ 401 h 467"/>
              <a:gd name="T8" fmla="*/ 4138 w 4138"/>
              <a:gd name="T9" fmla="*/ 467 h 4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138" h="467">
                <a:moveTo>
                  <a:pt x="0" y="0"/>
                </a:moveTo>
                <a:cubicBezTo>
                  <a:pt x="119" y="31"/>
                  <a:pt x="462" y="132"/>
                  <a:pt x="713" y="185"/>
                </a:cubicBezTo>
                <a:cubicBezTo>
                  <a:pt x="964" y="238"/>
                  <a:pt x="1220" y="285"/>
                  <a:pt x="1509" y="321"/>
                </a:cubicBezTo>
                <a:cubicBezTo>
                  <a:pt x="1798" y="357"/>
                  <a:pt x="2011" y="377"/>
                  <a:pt x="2449" y="401"/>
                </a:cubicBezTo>
                <a:cubicBezTo>
                  <a:pt x="2887" y="425"/>
                  <a:pt x="3786" y="453"/>
                  <a:pt x="4138" y="467"/>
                </a:cubicBezTo>
              </a:path>
            </a:pathLst>
          </a:custGeom>
          <a:noFill/>
          <a:ln w="3175" cmpd="sng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7E0FB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400"/>
          </a:p>
        </p:txBody>
      </p:sp>
      <p:sp>
        <p:nvSpPr>
          <p:cNvPr id="27" name="Freeform 7">
            <a:extLst>
              <a:ext uri="{FF2B5EF4-FFF2-40B4-BE49-F238E27FC236}">
                <a16:creationId xmlns:a16="http://schemas.microsoft.com/office/drawing/2014/main" id="{C3083CF2-ED28-6E56-836A-87A6EF0D2E48}"/>
              </a:ext>
            </a:extLst>
          </p:cNvPr>
          <p:cNvSpPr>
            <a:spLocks/>
          </p:cNvSpPr>
          <p:nvPr/>
        </p:nvSpPr>
        <p:spPr bwMode="gray">
          <a:xfrm flipV="1">
            <a:off x="2421716" y="3150985"/>
            <a:ext cx="7326902" cy="1031429"/>
          </a:xfrm>
          <a:custGeom>
            <a:avLst/>
            <a:gdLst>
              <a:gd name="T0" fmla="*/ 0 w 2552"/>
              <a:gd name="T1" fmla="*/ 0 h 616"/>
              <a:gd name="T2" fmla="*/ 968 w 2552"/>
              <a:gd name="T3" fmla="*/ 432 h 616"/>
              <a:gd name="T4" fmla="*/ 2552 w 2552"/>
              <a:gd name="T5" fmla="*/ 616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552" h="616">
                <a:moveTo>
                  <a:pt x="0" y="0"/>
                </a:moveTo>
                <a:cubicBezTo>
                  <a:pt x="271" y="164"/>
                  <a:pt x="543" y="329"/>
                  <a:pt x="968" y="432"/>
                </a:cubicBezTo>
                <a:cubicBezTo>
                  <a:pt x="1393" y="535"/>
                  <a:pt x="1972" y="575"/>
                  <a:pt x="2552" y="616"/>
                </a:cubicBezTo>
              </a:path>
            </a:pathLst>
          </a:custGeom>
          <a:noFill/>
          <a:ln w="3175" cmpd="sng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7E0FB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400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C904F9E9-58DC-3ED3-B34F-EC9310F8A00F}"/>
              </a:ext>
            </a:extLst>
          </p:cNvPr>
          <p:cNvSpPr/>
          <p:nvPr/>
        </p:nvSpPr>
        <p:spPr>
          <a:xfrm>
            <a:off x="8401403" y="2746798"/>
            <a:ext cx="398457" cy="398457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2C08B631-A4B7-A236-0C8B-CD22F61CF4A3}"/>
              </a:ext>
            </a:extLst>
          </p:cNvPr>
          <p:cNvSpPr/>
          <p:nvPr/>
        </p:nvSpPr>
        <p:spPr>
          <a:xfrm>
            <a:off x="8883390" y="2746798"/>
            <a:ext cx="398457" cy="398457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2C487E6C-847F-F5AA-6050-847C43E260E5}"/>
              </a:ext>
            </a:extLst>
          </p:cNvPr>
          <p:cNvSpPr/>
          <p:nvPr/>
        </p:nvSpPr>
        <p:spPr>
          <a:xfrm>
            <a:off x="9365375" y="2746798"/>
            <a:ext cx="398457" cy="398457"/>
          </a:xfrm>
          <a:prstGeom prst="ellipse">
            <a:avLst/>
          </a:prstGeom>
          <a:gradFill flip="none" rotWithShape="1">
            <a:gsLst>
              <a:gs pos="0">
                <a:srgbClr val="B6C0C1"/>
              </a:gs>
              <a:gs pos="57000">
                <a:schemeClr val="accent4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B3EE08FD-8B17-F3FE-9E2B-6B3CA3D52257}"/>
              </a:ext>
            </a:extLst>
          </p:cNvPr>
          <p:cNvSpPr/>
          <p:nvPr/>
        </p:nvSpPr>
        <p:spPr>
          <a:xfrm>
            <a:off x="6894935" y="2656638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600642F2-B626-AC42-16E2-D2D52006E077}"/>
              </a:ext>
            </a:extLst>
          </p:cNvPr>
          <p:cNvSpPr/>
          <p:nvPr/>
        </p:nvSpPr>
        <p:spPr>
          <a:xfrm>
            <a:off x="7376921" y="2656638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9FE960E6-93B5-98FD-4EEA-9AD24090185B}"/>
              </a:ext>
            </a:extLst>
          </p:cNvPr>
          <p:cNvSpPr/>
          <p:nvPr/>
        </p:nvSpPr>
        <p:spPr>
          <a:xfrm>
            <a:off x="7947759" y="2684382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B6C0C1"/>
              </a:gs>
              <a:gs pos="57000">
                <a:schemeClr val="accent4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70496473-BB8D-7B0F-8CD7-D217FFC7B5A2}"/>
              </a:ext>
            </a:extLst>
          </p:cNvPr>
          <p:cNvSpPr/>
          <p:nvPr/>
        </p:nvSpPr>
        <p:spPr>
          <a:xfrm>
            <a:off x="7125037" y="2927169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BD76BFDD-481D-A49B-213D-BBE61F4B7312}"/>
              </a:ext>
            </a:extLst>
          </p:cNvPr>
          <p:cNvSpPr/>
          <p:nvPr/>
        </p:nvSpPr>
        <p:spPr>
          <a:xfrm>
            <a:off x="7607024" y="2913605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F6A5C9E2-294D-6009-9279-83B0AF7E46CA}"/>
              </a:ext>
            </a:extLst>
          </p:cNvPr>
          <p:cNvSpPr/>
          <p:nvPr/>
        </p:nvSpPr>
        <p:spPr>
          <a:xfrm>
            <a:off x="5378396" y="2497620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5C861CA5-0E5C-A45D-7A58-6B5465A22485}"/>
              </a:ext>
            </a:extLst>
          </p:cNvPr>
          <p:cNvSpPr/>
          <p:nvPr/>
        </p:nvSpPr>
        <p:spPr>
          <a:xfrm>
            <a:off x="5860383" y="2532408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00EEEE81-B520-B23C-8B45-052EA070F380}"/>
              </a:ext>
            </a:extLst>
          </p:cNvPr>
          <p:cNvSpPr/>
          <p:nvPr/>
        </p:nvSpPr>
        <p:spPr>
          <a:xfrm>
            <a:off x="6342368" y="2625233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B6C0C1"/>
              </a:gs>
              <a:gs pos="57000">
                <a:schemeClr val="accent4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DEA5CDE3-3E78-50C5-DD32-6ED5DFE47E20}"/>
              </a:ext>
            </a:extLst>
          </p:cNvPr>
          <p:cNvSpPr/>
          <p:nvPr/>
        </p:nvSpPr>
        <p:spPr>
          <a:xfrm>
            <a:off x="5606885" y="2735452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51927380-A25F-43EC-748B-27C31D577166}"/>
              </a:ext>
            </a:extLst>
          </p:cNvPr>
          <p:cNvSpPr/>
          <p:nvPr/>
        </p:nvSpPr>
        <p:spPr>
          <a:xfrm>
            <a:off x="6054474" y="2805140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A4D96980-1A4A-9AC1-C150-1869782A2FE1}"/>
              </a:ext>
            </a:extLst>
          </p:cNvPr>
          <p:cNvSpPr/>
          <p:nvPr/>
        </p:nvSpPr>
        <p:spPr>
          <a:xfrm>
            <a:off x="6502982" y="2971079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B6C0C1"/>
              </a:gs>
              <a:gs pos="57000">
                <a:schemeClr val="accent4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43EA1B10-935D-42A1-83B8-D3E9D5507AD2}"/>
              </a:ext>
            </a:extLst>
          </p:cNvPr>
          <p:cNvSpPr/>
          <p:nvPr/>
        </p:nvSpPr>
        <p:spPr>
          <a:xfrm>
            <a:off x="5414951" y="3055653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67168AA4-72AB-873D-3594-704177E25172}"/>
              </a:ext>
            </a:extLst>
          </p:cNvPr>
          <p:cNvSpPr/>
          <p:nvPr/>
        </p:nvSpPr>
        <p:spPr>
          <a:xfrm>
            <a:off x="5810330" y="3026756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51B9DD64-1DC8-2536-B236-A45A43F22D2E}"/>
              </a:ext>
            </a:extLst>
          </p:cNvPr>
          <p:cNvSpPr/>
          <p:nvPr/>
        </p:nvSpPr>
        <p:spPr>
          <a:xfrm>
            <a:off x="3872510" y="2268005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9BE30809-4C3C-71CD-2483-C8A14BF8D148}"/>
              </a:ext>
            </a:extLst>
          </p:cNvPr>
          <p:cNvSpPr/>
          <p:nvPr/>
        </p:nvSpPr>
        <p:spPr>
          <a:xfrm>
            <a:off x="4381177" y="2397941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C77B2866-C45E-55B6-3605-2DFCF89C21D2}"/>
              </a:ext>
            </a:extLst>
          </p:cNvPr>
          <p:cNvSpPr/>
          <p:nvPr/>
        </p:nvSpPr>
        <p:spPr>
          <a:xfrm>
            <a:off x="4910510" y="2470018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B6C0C1"/>
              </a:gs>
              <a:gs pos="57000">
                <a:schemeClr val="accent4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1ED2E412-6E0C-99B7-177F-60B847B520C8}"/>
              </a:ext>
            </a:extLst>
          </p:cNvPr>
          <p:cNvSpPr/>
          <p:nvPr/>
        </p:nvSpPr>
        <p:spPr>
          <a:xfrm>
            <a:off x="4127680" y="2735452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C05D774B-8F1A-19C3-50E5-6E003C5CAB42}"/>
              </a:ext>
            </a:extLst>
          </p:cNvPr>
          <p:cNvSpPr/>
          <p:nvPr/>
        </p:nvSpPr>
        <p:spPr>
          <a:xfrm>
            <a:off x="4575268" y="2805140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F01F9720-BB1C-A0CE-4A2B-2E0E5E15E2E5}"/>
              </a:ext>
            </a:extLst>
          </p:cNvPr>
          <p:cNvSpPr/>
          <p:nvPr/>
        </p:nvSpPr>
        <p:spPr>
          <a:xfrm>
            <a:off x="4831385" y="3140255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B6C0C1"/>
              </a:gs>
              <a:gs pos="57000">
                <a:schemeClr val="accent4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 dirty="0"/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B11BE087-598D-CF34-6C71-4C65A7B89326}"/>
              </a:ext>
            </a:extLst>
          </p:cNvPr>
          <p:cNvSpPr/>
          <p:nvPr/>
        </p:nvSpPr>
        <p:spPr>
          <a:xfrm>
            <a:off x="3935746" y="3211646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3FF75EB8-4E41-6803-13ED-DD738E80C780}"/>
              </a:ext>
            </a:extLst>
          </p:cNvPr>
          <p:cNvSpPr/>
          <p:nvPr/>
        </p:nvSpPr>
        <p:spPr>
          <a:xfrm>
            <a:off x="4331124" y="3182750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F218BED1-B123-07B3-439E-EEBAB445AF1E}"/>
              </a:ext>
            </a:extLst>
          </p:cNvPr>
          <p:cNvSpPr/>
          <p:nvPr/>
        </p:nvSpPr>
        <p:spPr>
          <a:xfrm>
            <a:off x="2332714" y="1902868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6F60AF35-4BBF-0A3F-3D7F-B3D779DD7B9F}"/>
              </a:ext>
            </a:extLst>
          </p:cNvPr>
          <p:cNvSpPr/>
          <p:nvPr/>
        </p:nvSpPr>
        <p:spPr>
          <a:xfrm>
            <a:off x="2794005" y="2067783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2103F920-23A0-7604-61B8-B52F61D60C64}"/>
              </a:ext>
            </a:extLst>
          </p:cNvPr>
          <p:cNvSpPr/>
          <p:nvPr/>
        </p:nvSpPr>
        <p:spPr>
          <a:xfrm>
            <a:off x="3332584" y="2359912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B6C0C1"/>
              </a:gs>
              <a:gs pos="57000">
                <a:schemeClr val="accent4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1B3A1603-0D05-E710-E5DB-E33AF07EFCA3}"/>
              </a:ext>
            </a:extLst>
          </p:cNvPr>
          <p:cNvSpPr/>
          <p:nvPr/>
        </p:nvSpPr>
        <p:spPr>
          <a:xfrm>
            <a:off x="2332714" y="2509584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776E6A9B-27D9-89FD-637D-86165CF20E5D}"/>
              </a:ext>
            </a:extLst>
          </p:cNvPr>
          <p:cNvSpPr/>
          <p:nvPr/>
        </p:nvSpPr>
        <p:spPr>
          <a:xfrm>
            <a:off x="2794005" y="2579273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34DB7E5E-BA1C-F2D7-C60F-3E8F2D2804AC}"/>
              </a:ext>
            </a:extLst>
          </p:cNvPr>
          <p:cNvSpPr/>
          <p:nvPr/>
        </p:nvSpPr>
        <p:spPr>
          <a:xfrm>
            <a:off x="3498144" y="2844695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B6C0C1"/>
              </a:gs>
              <a:gs pos="57000">
                <a:schemeClr val="accent4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 dirty="0"/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8F628BA6-2368-9E24-1D6B-A87761360444}"/>
              </a:ext>
            </a:extLst>
          </p:cNvPr>
          <p:cNvSpPr/>
          <p:nvPr/>
        </p:nvSpPr>
        <p:spPr>
          <a:xfrm>
            <a:off x="2332714" y="3665710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698E3E5E-77EB-438F-45D2-C35205F4BBDC}"/>
              </a:ext>
            </a:extLst>
          </p:cNvPr>
          <p:cNvSpPr/>
          <p:nvPr/>
        </p:nvSpPr>
        <p:spPr>
          <a:xfrm>
            <a:off x="2794005" y="3636812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7042C00A-B054-D832-D03B-C4A47B1E2CC0}"/>
              </a:ext>
            </a:extLst>
          </p:cNvPr>
          <p:cNvSpPr/>
          <p:nvPr/>
        </p:nvSpPr>
        <p:spPr>
          <a:xfrm>
            <a:off x="3337946" y="3373464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B6C0C1"/>
              </a:gs>
              <a:gs pos="57000">
                <a:schemeClr val="accent4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AE7BB03D-CB63-3C1C-DB4B-73C288221EBA}"/>
              </a:ext>
            </a:extLst>
          </p:cNvPr>
          <p:cNvSpPr/>
          <p:nvPr/>
        </p:nvSpPr>
        <p:spPr>
          <a:xfrm>
            <a:off x="2332714" y="3197307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52430796-D0C6-A398-80F2-6A4B9B3CDEC8}"/>
              </a:ext>
            </a:extLst>
          </p:cNvPr>
          <p:cNvSpPr/>
          <p:nvPr/>
        </p:nvSpPr>
        <p:spPr>
          <a:xfrm>
            <a:off x="2794005" y="3110116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0E6B78FA-06CB-8B31-470D-B597667C2DFB}"/>
              </a:ext>
            </a:extLst>
          </p:cNvPr>
          <p:cNvSpPr>
            <a:spLocks/>
          </p:cNvSpPr>
          <p:nvPr/>
        </p:nvSpPr>
        <p:spPr>
          <a:xfrm>
            <a:off x="2580538" y="2908324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B6C0C1"/>
              </a:gs>
              <a:gs pos="57000">
                <a:schemeClr val="accent4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4" tIns="44807" rIns="89614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400"/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CE6C2615-1F09-5890-AF0E-41ABBC0AB227}"/>
              </a:ext>
            </a:extLst>
          </p:cNvPr>
          <p:cNvSpPr/>
          <p:nvPr/>
        </p:nvSpPr>
        <p:spPr>
          <a:xfrm>
            <a:off x="4221288" y="2297298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6B41ACF0-D639-3324-C9D0-CDC6DD89FE73}"/>
              </a:ext>
            </a:extLst>
          </p:cNvPr>
          <p:cNvSpPr/>
          <p:nvPr/>
        </p:nvSpPr>
        <p:spPr>
          <a:xfrm>
            <a:off x="3956918" y="2948271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816863FC-13F4-1EF7-4225-88FF7BE38E75}"/>
              </a:ext>
            </a:extLst>
          </p:cNvPr>
          <p:cNvSpPr/>
          <p:nvPr/>
        </p:nvSpPr>
        <p:spPr>
          <a:xfrm>
            <a:off x="6237496" y="3125049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2EEF6D11-5A42-8650-AC96-F560F7BB546D}"/>
              </a:ext>
            </a:extLst>
          </p:cNvPr>
          <p:cNvSpPr/>
          <p:nvPr/>
        </p:nvSpPr>
        <p:spPr>
          <a:xfrm>
            <a:off x="8074830" y="3008496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68AB831F-786D-A985-F231-1A3C55FE94A9}"/>
              </a:ext>
            </a:extLst>
          </p:cNvPr>
          <p:cNvSpPr/>
          <p:nvPr/>
        </p:nvSpPr>
        <p:spPr>
          <a:xfrm>
            <a:off x="3197619" y="2132957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85C98340-D617-8B39-46CD-EAFAFD370DC7}"/>
              </a:ext>
            </a:extLst>
          </p:cNvPr>
          <p:cNvSpPr>
            <a:spLocks/>
          </p:cNvSpPr>
          <p:nvPr/>
        </p:nvSpPr>
        <p:spPr>
          <a:xfrm>
            <a:off x="3083912" y="3420854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 sz="1400"/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0A41893D-CFFA-2322-CD96-755CFCC3BACB}"/>
              </a:ext>
            </a:extLst>
          </p:cNvPr>
          <p:cNvSpPr>
            <a:spLocks/>
          </p:cNvSpPr>
          <p:nvPr/>
        </p:nvSpPr>
        <p:spPr>
          <a:xfrm>
            <a:off x="3260398" y="3099637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 sz="1400"/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7E6EDF28-8E3C-3E9E-6F41-667D58E969FF}"/>
              </a:ext>
            </a:extLst>
          </p:cNvPr>
          <p:cNvSpPr>
            <a:spLocks/>
          </p:cNvSpPr>
          <p:nvPr/>
        </p:nvSpPr>
        <p:spPr>
          <a:xfrm>
            <a:off x="3219897" y="2672419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 sz="1400"/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A50B44CC-F3F2-2FE9-8672-0FE36583F18F}"/>
              </a:ext>
            </a:extLst>
          </p:cNvPr>
          <p:cNvSpPr>
            <a:spLocks/>
          </p:cNvSpPr>
          <p:nvPr/>
        </p:nvSpPr>
        <p:spPr>
          <a:xfrm>
            <a:off x="2596945" y="2306528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B6C0C1"/>
              </a:gs>
              <a:gs pos="57000">
                <a:schemeClr val="accent4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4" tIns="44807" rIns="89614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400"/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FF16C5E2-9957-8D00-9625-7D948F4D5263}"/>
              </a:ext>
            </a:extLst>
          </p:cNvPr>
          <p:cNvSpPr>
            <a:spLocks/>
          </p:cNvSpPr>
          <p:nvPr/>
        </p:nvSpPr>
        <p:spPr>
          <a:xfrm>
            <a:off x="2767446" y="3444447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B6C0C1"/>
              </a:gs>
              <a:gs pos="57000">
                <a:schemeClr val="accent4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4" tIns="44807" rIns="89614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400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34CD91F7-770A-2357-EAAF-08195C951DFF}"/>
              </a:ext>
            </a:extLst>
          </p:cNvPr>
          <p:cNvSpPr>
            <a:spLocks/>
          </p:cNvSpPr>
          <p:nvPr/>
        </p:nvSpPr>
        <p:spPr>
          <a:xfrm>
            <a:off x="3031785" y="2916721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B6C0C1"/>
              </a:gs>
              <a:gs pos="57000">
                <a:schemeClr val="accent4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4" tIns="44807" rIns="89614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400"/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9CD2773A-1BA6-0B42-896B-4593CDAA496E}"/>
              </a:ext>
            </a:extLst>
          </p:cNvPr>
          <p:cNvSpPr>
            <a:spLocks/>
          </p:cNvSpPr>
          <p:nvPr/>
        </p:nvSpPr>
        <p:spPr>
          <a:xfrm>
            <a:off x="2686540" y="1891100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4" tIns="44807" rIns="89614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400"/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2E06B394-32A7-1560-992C-0B9CAEB947B1}"/>
              </a:ext>
            </a:extLst>
          </p:cNvPr>
          <p:cNvSpPr>
            <a:spLocks/>
          </p:cNvSpPr>
          <p:nvPr/>
        </p:nvSpPr>
        <p:spPr>
          <a:xfrm>
            <a:off x="3047200" y="2399626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B6C0C1"/>
              </a:gs>
              <a:gs pos="57000">
                <a:schemeClr val="accent4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4" tIns="44807" rIns="89614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400"/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1E8A1071-0D0A-7D91-54A7-7BE9C921B3FF}"/>
              </a:ext>
            </a:extLst>
          </p:cNvPr>
          <p:cNvSpPr>
            <a:spLocks/>
          </p:cNvSpPr>
          <p:nvPr/>
        </p:nvSpPr>
        <p:spPr>
          <a:xfrm>
            <a:off x="3189774" y="3665902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 sz="1400"/>
          </a:p>
        </p:txBody>
      </p:sp>
      <p:sp>
        <p:nvSpPr>
          <p:cNvPr id="82" name="Oval 81">
            <a:extLst>
              <a:ext uri="{FF2B5EF4-FFF2-40B4-BE49-F238E27FC236}">
                <a16:creationId xmlns:a16="http://schemas.microsoft.com/office/drawing/2014/main" id="{34BEF865-8F08-C93A-223C-1FD4F707C3FE}"/>
              </a:ext>
            </a:extLst>
          </p:cNvPr>
          <p:cNvSpPr>
            <a:spLocks/>
          </p:cNvSpPr>
          <p:nvPr/>
        </p:nvSpPr>
        <p:spPr>
          <a:xfrm>
            <a:off x="2628324" y="3877954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4" tIns="44807" rIns="89614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400"/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B3E93AC5-1DEC-FA8C-8D28-6BB30A742B6F}"/>
              </a:ext>
            </a:extLst>
          </p:cNvPr>
          <p:cNvSpPr>
            <a:spLocks/>
          </p:cNvSpPr>
          <p:nvPr/>
        </p:nvSpPr>
        <p:spPr>
          <a:xfrm>
            <a:off x="4940624" y="2864596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 sz="1400"/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C78C0C8A-696E-7C09-9566-D1D3B5120A8E}"/>
              </a:ext>
            </a:extLst>
          </p:cNvPr>
          <p:cNvSpPr>
            <a:spLocks/>
          </p:cNvSpPr>
          <p:nvPr/>
        </p:nvSpPr>
        <p:spPr>
          <a:xfrm>
            <a:off x="6866202" y="3055653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 sz="1400"/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87EE6038-5220-385E-8935-297733ABD984}"/>
              </a:ext>
            </a:extLst>
          </p:cNvPr>
          <p:cNvSpPr>
            <a:spLocks/>
          </p:cNvSpPr>
          <p:nvPr/>
        </p:nvSpPr>
        <p:spPr>
          <a:xfrm>
            <a:off x="6635681" y="2764181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 sz="1400"/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2ED0CB65-D561-699B-C34B-BB93336B1171}"/>
              </a:ext>
            </a:extLst>
          </p:cNvPr>
          <p:cNvSpPr>
            <a:spLocks/>
          </p:cNvSpPr>
          <p:nvPr/>
        </p:nvSpPr>
        <p:spPr>
          <a:xfrm>
            <a:off x="7731814" y="2709787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 sz="1400"/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599CFBC8-5D25-6005-470B-01C922C5062E}"/>
              </a:ext>
            </a:extLst>
          </p:cNvPr>
          <p:cNvSpPr>
            <a:spLocks/>
          </p:cNvSpPr>
          <p:nvPr/>
        </p:nvSpPr>
        <p:spPr>
          <a:xfrm>
            <a:off x="3302898" y="2858380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4" tIns="44807" rIns="89614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400" dirty="0"/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059D518B-132A-8837-6AFE-EA20C13C3149}"/>
              </a:ext>
            </a:extLst>
          </p:cNvPr>
          <p:cNvSpPr>
            <a:spLocks/>
          </p:cNvSpPr>
          <p:nvPr/>
        </p:nvSpPr>
        <p:spPr>
          <a:xfrm>
            <a:off x="2366021" y="2912671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4" tIns="44807" rIns="89614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400" dirty="0"/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7BAEE27B-7B6B-B51D-3FC8-1902E8187712}"/>
              </a:ext>
            </a:extLst>
          </p:cNvPr>
          <p:cNvSpPr>
            <a:spLocks/>
          </p:cNvSpPr>
          <p:nvPr/>
        </p:nvSpPr>
        <p:spPr>
          <a:xfrm>
            <a:off x="2393271" y="2249860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4" tIns="44807" rIns="89614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400" dirty="0"/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6D61E7FC-D86E-51FF-67CE-74A43C22DE5E}"/>
              </a:ext>
            </a:extLst>
          </p:cNvPr>
          <p:cNvSpPr>
            <a:spLocks/>
          </p:cNvSpPr>
          <p:nvPr/>
        </p:nvSpPr>
        <p:spPr>
          <a:xfrm>
            <a:off x="3593881" y="3201166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4" tIns="44807" rIns="89614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400" dirty="0"/>
          </a:p>
        </p:txBody>
      </p:sp>
      <p:sp>
        <p:nvSpPr>
          <p:cNvPr id="122" name="Oval 121">
            <a:extLst>
              <a:ext uri="{FF2B5EF4-FFF2-40B4-BE49-F238E27FC236}">
                <a16:creationId xmlns:a16="http://schemas.microsoft.com/office/drawing/2014/main" id="{F96D48FD-CA32-09B2-8971-7118069DBA59}"/>
              </a:ext>
            </a:extLst>
          </p:cNvPr>
          <p:cNvSpPr>
            <a:spLocks/>
          </p:cNvSpPr>
          <p:nvPr/>
        </p:nvSpPr>
        <p:spPr>
          <a:xfrm>
            <a:off x="3674094" y="3545672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4" tIns="44807" rIns="89614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400" dirty="0"/>
          </a:p>
        </p:txBody>
      </p:sp>
      <p:sp>
        <p:nvSpPr>
          <p:cNvPr id="123" name="Oval 122">
            <a:extLst>
              <a:ext uri="{FF2B5EF4-FFF2-40B4-BE49-F238E27FC236}">
                <a16:creationId xmlns:a16="http://schemas.microsoft.com/office/drawing/2014/main" id="{F2C80FF3-A99D-ACB2-6C47-0B51DAA4B980}"/>
              </a:ext>
            </a:extLst>
          </p:cNvPr>
          <p:cNvSpPr>
            <a:spLocks/>
          </p:cNvSpPr>
          <p:nvPr/>
        </p:nvSpPr>
        <p:spPr>
          <a:xfrm>
            <a:off x="3660802" y="2546599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4" tIns="44807" rIns="89614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400" dirty="0"/>
          </a:p>
        </p:txBody>
      </p:sp>
      <p:sp>
        <p:nvSpPr>
          <p:cNvPr id="124" name="Oval 123">
            <a:extLst>
              <a:ext uri="{FF2B5EF4-FFF2-40B4-BE49-F238E27FC236}">
                <a16:creationId xmlns:a16="http://schemas.microsoft.com/office/drawing/2014/main" id="{9581310D-F481-C6C8-9879-DBDFD51D9C4A}"/>
              </a:ext>
            </a:extLst>
          </p:cNvPr>
          <p:cNvSpPr>
            <a:spLocks/>
          </p:cNvSpPr>
          <p:nvPr/>
        </p:nvSpPr>
        <p:spPr>
          <a:xfrm>
            <a:off x="3537141" y="2155572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4" tIns="44807" rIns="89614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400" dirty="0"/>
          </a:p>
        </p:txBody>
      </p:sp>
      <p:sp>
        <p:nvSpPr>
          <p:cNvPr id="125" name="Oval 124">
            <a:extLst>
              <a:ext uri="{FF2B5EF4-FFF2-40B4-BE49-F238E27FC236}">
                <a16:creationId xmlns:a16="http://schemas.microsoft.com/office/drawing/2014/main" id="{B101505C-0B14-ADEC-1614-161ECFDDEFE1}"/>
              </a:ext>
            </a:extLst>
          </p:cNvPr>
          <p:cNvSpPr>
            <a:spLocks/>
          </p:cNvSpPr>
          <p:nvPr/>
        </p:nvSpPr>
        <p:spPr>
          <a:xfrm>
            <a:off x="4160128" y="2529025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B6C0C1"/>
              </a:gs>
              <a:gs pos="57000">
                <a:schemeClr val="accent4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 sz="1400" dirty="0"/>
          </a:p>
        </p:txBody>
      </p:sp>
      <p:sp>
        <p:nvSpPr>
          <p:cNvPr id="126" name="Oval 125">
            <a:extLst>
              <a:ext uri="{FF2B5EF4-FFF2-40B4-BE49-F238E27FC236}">
                <a16:creationId xmlns:a16="http://schemas.microsoft.com/office/drawing/2014/main" id="{A1CA4EEB-1949-7986-5121-1C46E2B0F2E3}"/>
              </a:ext>
            </a:extLst>
          </p:cNvPr>
          <p:cNvSpPr>
            <a:spLocks/>
          </p:cNvSpPr>
          <p:nvPr/>
        </p:nvSpPr>
        <p:spPr>
          <a:xfrm>
            <a:off x="3917352" y="2671357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4" tIns="44807" rIns="89614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400" dirty="0"/>
          </a:p>
        </p:txBody>
      </p:sp>
      <p:sp>
        <p:nvSpPr>
          <p:cNvPr id="127" name="Oval 126">
            <a:extLst>
              <a:ext uri="{FF2B5EF4-FFF2-40B4-BE49-F238E27FC236}">
                <a16:creationId xmlns:a16="http://schemas.microsoft.com/office/drawing/2014/main" id="{7BC437EB-4F6B-547C-2035-9B36F3D7D760}"/>
              </a:ext>
            </a:extLst>
          </p:cNvPr>
          <p:cNvSpPr>
            <a:spLocks/>
          </p:cNvSpPr>
          <p:nvPr/>
        </p:nvSpPr>
        <p:spPr>
          <a:xfrm>
            <a:off x="2560664" y="3510191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4" tIns="44807" rIns="89614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400"/>
          </a:p>
        </p:txBody>
      </p:sp>
      <p:sp>
        <p:nvSpPr>
          <p:cNvPr id="128" name="Oval 127">
            <a:extLst>
              <a:ext uri="{FF2B5EF4-FFF2-40B4-BE49-F238E27FC236}">
                <a16:creationId xmlns:a16="http://schemas.microsoft.com/office/drawing/2014/main" id="{207A2836-B199-DA00-6599-98C61092D2E0}"/>
              </a:ext>
            </a:extLst>
          </p:cNvPr>
          <p:cNvSpPr>
            <a:spLocks/>
          </p:cNvSpPr>
          <p:nvPr/>
        </p:nvSpPr>
        <p:spPr>
          <a:xfrm>
            <a:off x="5137510" y="3027145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 sz="1400"/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A55EEE7A-C756-454D-803D-D2DAC7FF3ADE}"/>
              </a:ext>
            </a:extLst>
          </p:cNvPr>
          <p:cNvSpPr>
            <a:spLocks/>
          </p:cNvSpPr>
          <p:nvPr/>
        </p:nvSpPr>
        <p:spPr>
          <a:xfrm>
            <a:off x="4167709" y="3068136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B6C0C1"/>
              </a:gs>
              <a:gs pos="57000">
                <a:schemeClr val="accent4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4" tIns="44807" rIns="89614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400"/>
          </a:p>
        </p:txBody>
      </p:sp>
      <p:cxnSp>
        <p:nvCxnSpPr>
          <p:cNvPr id="22" name="Line">
            <a:extLst>
              <a:ext uri="{FF2B5EF4-FFF2-40B4-BE49-F238E27FC236}">
                <a16:creationId xmlns:a16="http://schemas.microsoft.com/office/drawing/2014/main" id="{37D7C8D7-4608-4658-7885-7CB8C6710291}"/>
              </a:ext>
            </a:extLst>
          </p:cNvPr>
          <p:cNvCxnSpPr/>
          <p:nvPr/>
        </p:nvCxnSpPr>
        <p:spPr>
          <a:xfrm flipH="1">
            <a:off x="2928023" y="1647272"/>
            <a:ext cx="32310" cy="4019152"/>
          </a:xfrm>
          <a:prstGeom prst="line">
            <a:avLst/>
          </a:prstGeom>
          <a:ln w="6350">
            <a:solidFill>
              <a:schemeClr val="accent5"/>
            </a:solidFill>
            <a:prstDash val="sysDot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Line">
            <a:extLst>
              <a:ext uri="{FF2B5EF4-FFF2-40B4-BE49-F238E27FC236}">
                <a16:creationId xmlns:a16="http://schemas.microsoft.com/office/drawing/2014/main" id="{64830D8E-2E4D-8236-8B17-1BD06B972D4A}"/>
              </a:ext>
            </a:extLst>
          </p:cNvPr>
          <p:cNvCxnSpPr/>
          <p:nvPr/>
        </p:nvCxnSpPr>
        <p:spPr>
          <a:xfrm flipH="1">
            <a:off x="4986086" y="1647272"/>
            <a:ext cx="32310" cy="4019152"/>
          </a:xfrm>
          <a:prstGeom prst="line">
            <a:avLst/>
          </a:prstGeom>
          <a:ln w="6350">
            <a:solidFill>
              <a:schemeClr val="accent5"/>
            </a:solidFill>
            <a:prstDash val="sysDot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Line">
            <a:extLst>
              <a:ext uri="{FF2B5EF4-FFF2-40B4-BE49-F238E27FC236}">
                <a16:creationId xmlns:a16="http://schemas.microsoft.com/office/drawing/2014/main" id="{B2C5BDEC-0ED5-36DF-D1FB-2FC35F0ABB9D}"/>
              </a:ext>
            </a:extLst>
          </p:cNvPr>
          <p:cNvCxnSpPr/>
          <p:nvPr/>
        </p:nvCxnSpPr>
        <p:spPr>
          <a:xfrm flipH="1">
            <a:off x="7045117" y="1647272"/>
            <a:ext cx="32310" cy="4019152"/>
          </a:xfrm>
          <a:prstGeom prst="line">
            <a:avLst/>
          </a:prstGeom>
          <a:ln w="6350">
            <a:solidFill>
              <a:schemeClr val="accent5"/>
            </a:solidFill>
            <a:prstDash val="sysDot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Line">
            <a:extLst>
              <a:ext uri="{FF2B5EF4-FFF2-40B4-BE49-F238E27FC236}">
                <a16:creationId xmlns:a16="http://schemas.microsoft.com/office/drawing/2014/main" id="{D03D4A33-2F88-EA65-A67D-81D9379EF9F8}"/>
              </a:ext>
            </a:extLst>
          </p:cNvPr>
          <p:cNvCxnSpPr/>
          <p:nvPr/>
        </p:nvCxnSpPr>
        <p:spPr>
          <a:xfrm flipH="1">
            <a:off x="9066290" y="1647272"/>
            <a:ext cx="32310" cy="4019152"/>
          </a:xfrm>
          <a:prstGeom prst="line">
            <a:avLst/>
          </a:prstGeom>
          <a:ln w="6350">
            <a:solidFill>
              <a:schemeClr val="accent5"/>
            </a:solidFill>
            <a:prstDash val="sysDot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>
            <a:extLst>
              <a:ext uri="{FF2B5EF4-FFF2-40B4-BE49-F238E27FC236}">
                <a16:creationId xmlns:a16="http://schemas.microsoft.com/office/drawing/2014/main" id="{EDBBA9B2-A6BF-90DF-76F5-63EE1E70227B}"/>
              </a:ext>
            </a:extLst>
          </p:cNvPr>
          <p:cNvSpPr txBox="1">
            <a:spLocks/>
          </p:cNvSpPr>
          <p:nvPr/>
        </p:nvSpPr>
        <p:spPr>
          <a:xfrm>
            <a:off x="1148250" y="1201626"/>
            <a:ext cx="1757294" cy="355355"/>
          </a:xfrm>
          <a:prstGeom prst="rect">
            <a:avLst/>
          </a:prstGeom>
        </p:spPr>
        <p:txBody>
          <a:bodyPr anchor="ctr"/>
          <a:lstStyle>
            <a:lvl1pPr algn="l" defTabSz="18284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457152">
              <a:buClr>
                <a:srgbClr val="0070C0"/>
              </a:buClr>
              <a:defRPr/>
            </a:pPr>
            <a:r>
              <a:rPr lang="en-IN" sz="1400" b="1" dirty="0">
                <a:solidFill>
                  <a:schemeClr val="bg1"/>
                </a:solidFill>
                <a:latin typeface="+mn-lt"/>
                <a:ea typeface="Open Sans ExtraBold" charset="0"/>
                <a:cs typeface="Open Sans ExtraBold" charset="0"/>
              </a:rPr>
              <a:t>INSERT</a:t>
            </a:r>
            <a:r>
              <a:rPr lang="en-IN" sz="1400" b="1" dirty="0">
                <a:solidFill>
                  <a:schemeClr val="bg1"/>
                </a:solidFill>
                <a:latin typeface="+mn-lt"/>
              </a:rPr>
              <a:t> TITLE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1CF1DD0-8781-8725-1890-6FA418B075B5}"/>
              </a:ext>
            </a:extLst>
          </p:cNvPr>
          <p:cNvSpPr txBox="1">
            <a:spLocks/>
          </p:cNvSpPr>
          <p:nvPr/>
        </p:nvSpPr>
        <p:spPr>
          <a:xfrm>
            <a:off x="3218377" y="1201626"/>
            <a:ext cx="1757294" cy="355355"/>
          </a:xfrm>
          <a:prstGeom prst="rect">
            <a:avLst/>
          </a:prstGeom>
        </p:spPr>
        <p:txBody>
          <a:bodyPr anchor="ctr"/>
          <a:lstStyle>
            <a:lvl1pPr algn="l" defTabSz="18284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457152">
              <a:buClr>
                <a:srgbClr val="0070C0"/>
              </a:buClr>
              <a:defRPr/>
            </a:pPr>
            <a:r>
              <a:rPr lang="en-IN" sz="1400" b="1" dirty="0">
                <a:solidFill>
                  <a:schemeClr val="bg1"/>
                </a:solidFill>
                <a:latin typeface="+mn-lt"/>
                <a:ea typeface="Open Sans ExtraBold" charset="0"/>
                <a:cs typeface="Open Sans ExtraBold" charset="0"/>
              </a:rPr>
              <a:t>INSERT</a:t>
            </a:r>
            <a:r>
              <a:rPr lang="en-IN" sz="1400" b="1" dirty="0">
                <a:solidFill>
                  <a:schemeClr val="bg1"/>
                </a:solidFill>
                <a:latin typeface="+mn-lt"/>
              </a:rPr>
              <a:t> TITL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475854B-3329-6BF0-F2F2-D9846B2D611F}"/>
              </a:ext>
            </a:extLst>
          </p:cNvPr>
          <p:cNvSpPr txBox="1">
            <a:spLocks/>
          </p:cNvSpPr>
          <p:nvPr/>
        </p:nvSpPr>
        <p:spPr>
          <a:xfrm>
            <a:off x="5274860" y="1201626"/>
            <a:ext cx="1757294" cy="355355"/>
          </a:xfrm>
          <a:prstGeom prst="rect">
            <a:avLst/>
          </a:prstGeom>
        </p:spPr>
        <p:txBody>
          <a:bodyPr anchor="ctr"/>
          <a:lstStyle>
            <a:lvl1pPr algn="l" defTabSz="18284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457152">
              <a:buClr>
                <a:srgbClr val="0070C0"/>
              </a:buClr>
              <a:defRPr/>
            </a:pPr>
            <a:r>
              <a:rPr lang="en-IN" sz="1400" b="1" dirty="0">
                <a:solidFill>
                  <a:schemeClr val="bg1"/>
                </a:solidFill>
                <a:latin typeface="+mn-lt"/>
                <a:ea typeface="Open Sans ExtraBold" charset="0"/>
                <a:cs typeface="Open Sans ExtraBold" charset="0"/>
              </a:rPr>
              <a:t>INSERT</a:t>
            </a:r>
            <a:r>
              <a:rPr lang="en-IN" sz="1400" b="1" dirty="0">
                <a:solidFill>
                  <a:schemeClr val="bg1"/>
                </a:solidFill>
                <a:latin typeface="+mn-lt"/>
              </a:rPr>
              <a:t> TITL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13BC3FB-7795-D56C-4700-4052FD161BC7}"/>
              </a:ext>
            </a:extLst>
          </p:cNvPr>
          <p:cNvSpPr txBox="1">
            <a:spLocks/>
          </p:cNvSpPr>
          <p:nvPr/>
        </p:nvSpPr>
        <p:spPr>
          <a:xfrm>
            <a:off x="7326105" y="1201626"/>
            <a:ext cx="1757294" cy="355355"/>
          </a:xfrm>
          <a:prstGeom prst="rect">
            <a:avLst/>
          </a:prstGeom>
        </p:spPr>
        <p:txBody>
          <a:bodyPr anchor="ctr"/>
          <a:lstStyle>
            <a:lvl1pPr algn="l" defTabSz="18284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457152">
              <a:buClr>
                <a:srgbClr val="0070C0"/>
              </a:buClr>
              <a:defRPr/>
            </a:pPr>
            <a:r>
              <a:rPr lang="en-IN" sz="1400" b="1" dirty="0">
                <a:solidFill>
                  <a:schemeClr val="bg1"/>
                </a:solidFill>
                <a:latin typeface="+mn-lt"/>
                <a:ea typeface="Open Sans ExtraBold" charset="0"/>
                <a:cs typeface="Open Sans ExtraBold" charset="0"/>
              </a:rPr>
              <a:t>INSERT</a:t>
            </a:r>
            <a:r>
              <a:rPr lang="en-IN" sz="1400" b="1" dirty="0">
                <a:solidFill>
                  <a:schemeClr val="bg1"/>
                </a:solidFill>
                <a:latin typeface="+mn-lt"/>
              </a:rPr>
              <a:t> TITLE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72B41ACB-D794-030A-7071-0F98E4B35F3E}"/>
              </a:ext>
            </a:extLst>
          </p:cNvPr>
          <p:cNvSpPr txBox="1">
            <a:spLocks/>
          </p:cNvSpPr>
          <p:nvPr/>
        </p:nvSpPr>
        <p:spPr>
          <a:xfrm>
            <a:off x="9349047" y="1201626"/>
            <a:ext cx="1757294" cy="355355"/>
          </a:xfrm>
          <a:prstGeom prst="rect">
            <a:avLst/>
          </a:prstGeom>
        </p:spPr>
        <p:txBody>
          <a:bodyPr anchor="ctr"/>
          <a:lstStyle>
            <a:lvl1pPr algn="l" defTabSz="18284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457152">
              <a:buClr>
                <a:srgbClr val="0070C0"/>
              </a:buClr>
              <a:defRPr/>
            </a:pPr>
            <a:r>
              <a:rPr lang="en-IN" sz="1400" b="1" dirty="0">
                <a:solidFill>
                  <a:schemeClr val="bg1"/>
                </a:solidFill>
                <a:latin typeface="+mn-lt"/>
                <a:ea typeface="Open Sans ExtraBold" charset="0"/>
                <a:cs typeface="Open Sans ExtraBold" charset="0"/>
              </a:rPr>
              <a:t>INSERT</a:t>
            </a:r>
            <a:r>
              <a:rPr lang="en-IN" sz="1400" b="1" dirty="0">
                <a:solidFill>
                  <a:schemeClr val="bg1"/>
                </a:solidFill>
                <a:latin typeface="+mn-lt"/>
              </a:rPr>
              <a:t> TITLE</a:t>
            </a:r>
          </a:p>
        </p:txBody>
      </p:sp>
      <p:sp>
        <p:nvSpPr>
          <p:cNvPr id="17" name="Inhaltsplatzhalter 4">
            <a:extLst>
              <a:ext uri="{FF2B5EF4-FFF2-40B4-BE49-F238E27FC236}">
                <a16:creationId xmlns:a16="http://schemas.microsoft.com/office/drawing/2014/main" id="{BF8BCAAA-7FA3-AC66-EAE5-9DE9C04D36B9}"/>
              </a:ext>
            </a:extLst>
          </p:cNvPr>
          <p:cNvSpPr txBox="1">
            <a:spLocks/>
          </p:cNvSpPr>
          <p:nvPr/>
        </p:nvSpPr>
        <p:spPr>
          <a:xfrm flipH="1">
            <a:off x="1052121" y="4521997"/>
            <a:ext cx="1800729" cy="89255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400" b="1" dirty="0">
                <a:solidFill>
                  <a:schemeClr val="accent1"/>
                </a:solidFill>
                <a:latin typeface="+mn-lt"/>
              </a:rPr>
              <a:t>TITLE GOES HERE</a:t>
            </a:r>
            <a:br>
              <a:rPr lang="en-US" sz="1200" b="1" dirty="0">
                <a:solidFill>
                  <a:schemeClr val="accent1"/>
                </a:solidFill>
                <a:latin typeface="+mn-lt"/>
              </a:rPr>
            </a:b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18" name="Inhaltsplatzhalter 4">
            <a:extLst>
              <a:ext uri="{FF2B5EF4-FFF2-40B4-BE49-F238E27FC236}">
                <a16:creationId xmlns:a16="http://schemas.microsoft.com/office/drawing/2014/main" id="{03C17833-C1E7-5DA6-4054-C7FCB0FFA752}"/>
              </a:ext>
            </a:extLst>
          </p:cNvPr>
          <p:cNvSpPr txBox="1">
            <a:spLocks/>
          </p:cNvSpPr>
          <p:nvPr/>
        </p:nvSpPr>
        <p:spPr>
          <a:xfrm flipH="1">
            <a:off x="3059488" y="4521997"/>
            <a:ext cx="1800729" cy="89255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400" b="1" dirty="0">
                <a:solidFill>
                  <a:schemeClr val="accent2"/>
                </a:solidFill>
                <a:latin typeface="+mn-lt"/>
              </a:rPr>
              <a:t>TITLE GOES HERE</a:t>
            </a:r>
            <a:br>
              <a:rPr lang="en-US" sz="1200" b="1" dirty="0">
                <a:solidFill>
                  <a:schemeClr val="accent1"/>
                </a:solidFill>
                <a:latin typeface="+mn-lt"/>
              </a:rPr>
            </a:b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19" name="Inhaltsplatzhalter 4">
            <a:extLst>
              <a:ext uri="{FF2B5EF4-FFF2-40B4-BE49-F238E27FC236}">
                <a16:creationId xmlns:a16="http://schemas.microsoft.com/office/drawing/2014/main" id="{D8616762-304B-EAF8-6E69-9240641EB4E3}"/>
              </a:ext>
            </a:extLst>
          </p:cNvPr>
          <p:cNvSpPr txBox="1">
            <a:spLocks/>
          </p:cNvSpPr>
          <p:nvPr/>
        </p:nvSpPr>
        <p:spPr>
          <a:xfrm flipH="1">
            <a:off x="5131392" y="4521997"/>
            <a:ext cx="1800729" cy="89255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400" b="1" dirty="0">
                <a:solidFill>
                  <a:schemeClr val="accent3"/>
                </a:solidFill>
                <a:latin typeface="+mn-lt"/>
              </a:rPr>
              <a:t>TITLE GOES HERE</a:t>
            </a:r>
            <a:br>
              <a:rPr lang="en-US" sz="1200" b="1" dirty="0">
                <a:solidFill>
                  <a:schemeClr val="accent1"/>
                </a:solidFill>
                <a:latin typeface="+mn-lt"/>
              </a:rPr>
            </a:b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20" name="Inhaltsplatzhalter 4">
            <a:extLst>
              <a:ext uri="{FF2B5EF4-FFF2-40B4-BE49-F238E27FC236}">
                <a16:creationId xmlns:a16="http://schemas.microsoft.com/office/drawing/2014/main" id="{B775BF75-2B26-A0E4-D00B-5ECF93AFB638}"/>
              </a:ext>
            </a:extLst>
          </p:cNvPr>
          <p:cNvSpPr txBox="1">
            <a:spLocks/>
          </p:cNvSpPr>
          <p:nvPr/>
        </p:nvSpPr>
        <p:spPr>
          <a:xfrm flipH="1">
            <a:off x="7143152" y="4521997"/>
            <a:ext cx="1800729" cy="89255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400" b="1" dirty="0">
                <a:solidFill>
                  <a:schemeClr val="accent4"/>
                </a:solidFill>
                <a:latin typeface="+mn-lt"/>
              </a:rPr>
              <a:t>TITLE GOES HERE</a:t>
            </a:r>
            <a:br>
              <a:rPr lang="en-US" sz="1200" b="1" dirty="0">
                <a:solidFill>
                  <a:schemeClr val="accent1"/>
                </a:solidFill>
                <a:latin typeface="+mn-lt"/>
              </a:rPr>
            </a:b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21" name="Inhaltsplatzhalter 4">
            <a:extLst>
              <a:ext uri="{FF2B5EF4-FFF2-40B4-BE49-F238E27FC236}">
                <a16:creationId xmlns:a16="http://schemas.microsoft.com/office/drawing/2014/main" id="{2540F05D-BC46-0DB6-2B4B-C255001DF749}"/>
              </a:ext>
            </a:extLst>
          </p:cNvPr>
          <p:cNvSpPr txBox="1">
            <a:spLocks/>
          </p:cNvSpPr>
          <p:nvPr/>
        </p:nvSpPr>
        <p:spPr>
          <a:xfrm flipH="1">
            <a:off x="9223181" y="4521997"/>
            <a:ext cx="1800729" cy="89255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400" b="1" dirty="0">
                <a:solidFill>
                  <a:schemeClr val="accent5"/>
                </a:solidFill>
                <a:latin typeface="+mn-lt"/>
              </a:rPr>
              <a:t>TITLE GOES HERE</a:t>
            </a:r>
            <a:br>
              <a:rPr lang="en-US" sz="1200" b="1" dirty="0">
                <a:solidFill>
                  <a:schemeClr val="accent1"/>
                </a:solidFill>
                <a:latin typeface="+mn-lt"/>
              </a:rPr>
            </a:b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</p:spTree>
    <p:extLst>
      <p:ext uri="{BB962C8B-B14F-4D97-AF65-F5344CB8AC3E}">
        <p14:creationId xmlns:p14="http://schemas.microsoft.com/office/powerpoint/2010/main" val="24045811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74</TotalTime>
  <Words>142</Words>
  <Application>Microsoft Office PowerPoint</Application>
  <PresentationFormat>Widescreen</PresentationFormat>
  <Paragraphs>1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Funnel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750</cp:revision>
  <dcterms:created xsi:type="dcterms:W3CDTF">2021-03-31T02:49:57Z</dcterms:created>
  <dcterms:modified xsi:type="dcterms:W3CDTF">2025-10-15T02:55:30Z</dcterms:modified>
  <cp:category/>
</cp:coreProperties>
</file>